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46E61D17-71E7-4973-8BE6-2176CFCB6A7A}">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3750000000000002</c:v>
                </c:pt>
                <c:pt idx="4">
                  <c:v>0.46479999999999999</c:v>
                </c:pt>
                <c:pt idx="5">
                  <c:v>2.2100000000000002E-2</c:v>
                </c:pt>
                <c:pt idx="6">
                  <c:v>0.1756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053</c:v>
                </c:pt>
                <c:pt idx="4">
                  <c:v>0.18709999999999999</c:v>
                </c:pt>
                <c:pt idx="5">
                  <c:v>0.25869999999999999</c:v>
                </c:pt>
                <c:pt idx="6">
                  <c:v>0.4489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5">
                  <c:v>2.01963697702212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184833628921547E-3</c:v>
                </c:pt>
                <c:pt idx="6">
                  <c:v>0.272509809581233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045678326097249E-2</c:v>
                </c:pt>
                <c:pt idx="4">
                  <c:v>9.498069788954018E-2</c:v>
                </c:pt>
                <c:pt idx="5">
                  <c:v>8.2852438424223282E-2</c:v>
                </c:pt>
                <c:pt idx="6">
                  <c:v>0.12240381297416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407711693623543E-2</c:v>
                </c:pt>
                <c:pt idx="3">
                  <c:v>0.1031751581277262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4936976888713722E-4</c:v>
                </c:pt>
                <c:pt idx="3">
                  <c:v>3.1007568517960014E-2</c:v>
                </c:pt>
                <c:pt idx="4">
                  <c:v>2.1504248536126154E-2</c:v>
                </c:pt>
                <c:pt idx="5">
                  <c:v>7.6985249783223547E-2</c:v>
                </c:pt>
                <c:pt idx="6">
                  <c:v>0.138891459050575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99999999999999E-3</c:v>
                </c:pt>
                <c:pt idx="4">
                  <c:v>0.87050000000000005</c:v>
                </c:pt>
                <c:pt idx="5">
                  <c:v>0.122</c:v>
                </c:pt>
                <c:pt idx="6">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6057802491371828E-5</c:v>
                </c:pt>
                <c:pt idx="4">
                  <c:v>6.5989354374214118E-3</c:v>
                </c:pt>
                <c:pt idx="5">
                  <c:v>9.2498162718041043E-4</c:v>
                </c:pt>
                <c:pt idx="6">
                  <c:v>4.05229524678064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2.0622886308163387E-5</c:v>
                </c:pt>
                <c:pt idx="1">
                  <c:v>1.9573336850084559E-6</c:v>
                </c:pt>
                <c:pt idx="3">
                  <c:v>0.12687083384955194</c:v>
                </c:pt>
                <c:pt idx="4">
                  <c:v>0.16486033211851786</c:v>
                </c:pt>
                <c:pt idx="5">
                  <c:v>3.4297907312462054E-3</c:v>
                </c:pt>
                <c:pt idx="6">
                  <c:v>3.106064836754370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2601851359611469E-2</c:v>
                </c:pt>
                <c:pt idx="4">
                  <c:v>6.8816156125501474E-2</c:v>
                </c:pt>
                <c:pt idx="5">
                  <c:v>8.9718493342852285E-3</c:v>
                </c:pt>
                <c:pt idx="6">
                  <c:v>1.07468352090987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7755887725283318E-2</c:v>
                </c:pt>
                <c:pt idx="4">
                  <c:v>6.7371682805771216E-2</c:v>
                </c:pt>
                <c:pt idx="5">
                  <c:v>1.7201227303588037E-3</c:v>
                </c:pt>
                <c:pt idx="6">
                  <c:v>3.68717104515123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5.9635120328183466E-2</c:v>
                </c:pt>
                <c:pt idx="1">
                  <c:v>6.9831596138844446E-2</c:v>
                </c:pt>
                <c:pt idx="2">
                  <c:v>1.6376470044223299E-2</c:v>
                </c:pt>
                <c:pt idx="3">
                  <c:v>9.1781972679923385E-2</c:v>
                </c:pt>
                <c:pt idx="4">
                  <c:v>3.1297816731780566E-2</c:v>
                </c:pt>
                <c:pt idx="5">
                  <c:v>1.9749619177063481E-2</c:v>
                </c:pt>
                <c:pt idx="6">
                  <c:v>8.26466260521448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E-3</c:v>
                </c:pt>
                <c:pt idx="4">
                  <c:v>0.48080000000000001</c:v>
                </c:pt>
                <c:pt idx="5">
                  <c:v>0.51090000000000002</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1516160706271263E-6</c:v>
                </c:pt>
                <c:pt idx="4">
                  <c:v>1.6087383290716273E-3</c:v>
                </c:pt>
                <c:pt idx="5">
                  <c:v>1.7095699774201095E-3</c:v>
                </c:pt>
                <c:pt idx="6">
                  <c:v>2.246228803446053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3856391454342183E-2</c:v>
                </c:pt>
                <c:pt idx="1">
                  <c:v>0.10367918669817955</c:v>
                </c:pt>
                <c:pt idx="2">
                  <c:v>1.5448243902177162E-3</c:v>
                </c:pt>
                <c:pt idx="3">
                  <c:v>1.11147376505400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8713737177482349E-2</c:v>
                </c:pt>
                <c:pt idx="4">
                  <c:v>8.4593375541374E-2</c:v>
                </c:pt>
                <c:pt idx="5">
                  <c:v>1.7885954421818177E-3</c:v>
                </c:pt>
                <c:pt idx="6">
                  <c:v>2.2964048619103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5474645260110581</c:v>
                </c:pt>
                <c:pt idx="1">
                  <c:v>0.11359584148805352</c:v>
                </c:pt>
                <c:pt idx="2">
                  <c:v>4.3910551883943515E-2</c:v>
                </c:pt>
                <c:pt idx="3">
                  <c:v>9.7957477706337545E-2</c:v>
                </c:pt>
                <c:pt idx="4">
                  <c:v>5.7433366172904912E-2</c:v>
                </c:pt>
                <c:pt idx="5">
                  <c:v>1.7609689657106652E-2</c:v>
                </c:pt>
                <c:pt idx="6">
                  <c:v>6.43246561661418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999999999999996E-3</c:v>
                </c:pt>
                <c:pt idx="4">
                  <c:v>0.85809999999999997</c:v>
                </c:pt>
                <c:pt idx="5">
                  <c:v>0.13220000000000001</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9401469785585198E-5</c:v>
                </c:pt>
                <c:pt idx="4">
                  <c:v>3.1183523299267951E-3</c:v>
                </c:pt>
                <c:pt idx="5">
                  <c:v>4.8061795105137358E-4</c:v>
                </c:pt>
                <c:pt idx="6">
                  <c:v>5.848453836246121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9.027597574452607E-5</c:v>
                </c:pt>
                <c:pt idx="3">
                  <c:v>0.11339927484852171</c:v>
                </c:pt>
                <c:pt idx="4">
                  <c:v>6.3935447025581307E-2</c:v>
                </c:pt>
                <c:pt idx="5">
                  <c:v>1.2253312385760713E-3</c:v>
                </c:pt>
                <c:pt idx="6">
                  <c:v>2.0837602307564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7075290891505158E-2</c:v>
                </c:pt>
                <c:pt idx="1">
                  <c:v>0.10659505248980324</c:v>
                </c:pt>
                <c:pt idx="2">
                  <c:v>1.2521435301671093E-3</c:v>
                </c:pt>
                <c:pt idx="3">
                  <c:v>1.18033239035327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1327343362563844E-2</c:v>
                </c:pt>
                <c:pt idx="1">
                  <c:v>1.5929518742014953E-2</c:v>
                </c:pt>
                <c:pt idx="2">
                  <c:v>1.3554854268655106E-4</c:v>
                </c:pt>
                <c:pt idx="3">
                  <c:v>2.05813645981086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2687320260961352</c:v>
                </c:pt>
                <c:pt idx="1">
                  <c:v>8.0606626544411808E-2</c:v>
                </c:pt>
                <c:pt idx="2">
                  <c:v>3.8164209035782277E-2</c:v>
                </c:pt>
                <c:pt idx="3">
                  <c:v>0.15041573677997028</c:v>
                </c:pt>
                <c:pt idx="4">
                  <c:v>9.2346777185983178E-2</c:v>
                </c:pt>
                <c:pt idx="5">
                  <c:v>1.7470311434027885E-2</c:v>
                </c:pt>
                <c:pt idx="6">
                  <c:v>6.688070521088913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646030779004317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349108051016715E-2</c:v>
                </c:pt>
                <c:pt idx="1">
                  <c:v>0.14230888664389008</c:v>
                </c:pt>
                <c:pt idx="2">
                  <c:v>1.8235403033562423E-3</c:v>
                </c:pt>
                <c:pt idx="3">
                  <c:v>1.80346722807270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7275001892197168E-2</c:v>
                </c:pt>
                <c:pt idx="1">
                  <c:v>1.3203775060090376E-2</c:v>
                </c:pt>
                <c:pt idx="2">
                  <c:v>1.87636187350009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974621060697665E-4</c:v>
                </c:pt>
                <c:pt idx="1">
                  <c:v>6.1277873794495977E-5</c:v>
                </c:pt>
                <c:pt idx="3">
                  <c:v>7.3643974573782481E-2</c:v>
                </c:pt>
                <c:pt idx="4">
                  <c:v>5.1384333001284173E-3</c:v>
                </c:pt>
                <c:pt idx="5">
                  <c:v>1.5204897240889087E-3</c:v>
                </c:pt>
                <c:pt idx="6">
                  <c:v>1.3099732422164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1226114376827074</c:v>
                </c:pt>
                <c:pt idx="1">
                  <c:v>0.11588699140974738</c:v>
                </c:pt>
                <c:pt idx="2">
                  <c:v>6.4880448354407705E-2</c:v>
                </c:pt>
                <c:pt idx="3">
                  <c:v>0.12549356752110202</c:v>
                </c:pt>
                <c:pt idx="4">
                  <c:v>2.594052492887065E-2</c:v>
                </c:pt>
                <c:pt idx="5">
                  <c:v>1.163519538200973E-2</c:v>
                </c:pt>
                <c:pt idx="6">
                  <c:v>2.36892785753476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5">
                  <c:v>2.053443141807104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2214049764099401E-3</c:v>
                </c:pt>
                <c:pt idx="6">
                  <c:v>0.27707127861405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732730990011735E-2</c:v>
                </c:pt>
                <c:pt idx="4">
                  <c:v>9.657055446316086E-2</c:v>
                </c:pt>
                <c:pt idx="5">
                  <c:v>8.3548365707411767E-2</c:v>
                </c:pt>
                <c:pt idx="6">
                  <c:v>0.1237846804284726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59866233758669E-2</c:v>
                </c:pt>
                <c:pt idx="3">
                  <c:v>0.104902179586070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6358714294844754E-4</c:v>
                </c:pt>
                <c:pt idx="3">
                  <c:v>3.1526595938642946E-2</c:v>
                </c:pt>
                <c:pt idx="4">
                  <c:v>2.1864202417868458E-2</c:v>
                </c:pt>
                <c:pt idx="5">
                  <c:v>7.8273885349810238E-2</c:v>
                </c:pt>
                <c:pt idx="6">
                  <c:v>0.125836527733371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99999999999999E-3</c:v>
                </c:pt>
                <c:pt idx="4">
                  <c:v>0.87050000000000005</c:v>
                </c:pt>
                <c:pt idx="5">
                  <c:v>0.122</c:v>
                </c:pt>
                <c:pt idx="6">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5013231820186933E-3</c:v>
                </c:pt>
                <c:pt idx="4">
                  <c:v>9.7695181021392463E-3</c:v>
                </c:pt>
                <c:pt idx="5">
                  <c:v>1.3510103953034239E-2</c:v>
                </c:pt>
                <c:pt idx="6">
                  <c:v>2.344014925301684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184833628921547E-3</c:v>
                </c:pt>
                <c:pt idx="6">
                  <c:v>0.272509809581233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045678326097249E-2</c:v>
                </c:pt>
                <c:pt idx="4">
                  <c:v>9.498069788954018E-2</c:v>
                </c:pt>
                <c:pt idx="5">
                  <c:v>8.2852438424223282E-2</c:v>
                </c:pt>
                <c:pt idx="6">
                  <c:v>0.12240381297416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407711693623543E-2</c:v>
                </c:pt>
                <c:pt idx="3">
                  <c:v>0.1031751581277262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4936976888713722E-4</c:v>
                </c:pt>
                <c:pt idx="3">
                  <c:v>2.550624533594132E-2</c:v>
                </c:pt>
                <c:pt idx="4">
                  <c:v>1.1734730433986908E-2</c:v>
                </c:pt>
                <c:pt idx="5">
                  <c:v>6.3677109527891518E-2</c:v>
                </c:pt>
                <c:pt idx="6">
                  <c:v>0.11545130979755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684076636298938E-5</c:v>
                </c:pt>
                <c:pt idx="4">
                  <c:v>6.9206935385945903E-3</c:v>
                </c:pt>
                <c:pt idx="5">
                  <c:v>9.7008289158949867E-4</c:v>
                </c:pt>
                <c:pt idx="6">
                  <c:v>4.249881484191492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3301039870613909</c:v>
                </c:pt>
                <c:pt idx="4">
                  <c:v>0.16765189212467671</c:v>
                </c:pt>
                <c:pt idx="5">
                  <c:v>3.5970242136120173E-3</c:v>
                </c:pt>
                <c:pt idx="6">
                  <c:v>2.97438747876412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4651973056325685E-2</c:v>
                </c:pt>
                <c:pt idx="4">
                  <c:v>7.1175781902897153E-2</c:v>
                </c:pt>
                <c:pt idx="5">
                  <c:v>8.6116450770151887E-3</c:v>
                </c:pt>
                <c:pt idx="6">
                  <c:v>6.5497244837350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7667783549627004E-2</c:v>
                </c:pt>
                <c:pt idx="4">
                  <c:v>6.507986221690501E-2</c:v>
                </c:pt>
                <c:pt idx="5">
                  <c:v>1.7848557843856722E-3</c:v>
                </c:pt>
                <c:pt idx="6">
                  <c:v>3.27526852088932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6.0449333597245178E-2</c:v>
                </c:pt>
                <c:pt idx="1">
                  <c:v>7.0785377562273599E-2</c:v>
                </c:pt>
                <c:pt idx="2">
                  <c:v>1.5553589937334278E-2</c:v>
                </c:pt>
                <c:pt idx="3">
                  <c:v>9.1174038814663655E-2</c:v>
                </c:pt>
                <c:pt idx="4">
                  <c:v>3.1806416891471415E-2</c:v>
                </c:pt>
                <c:pt idx="5">
                  <c:v>1.8435827246469152E-2</c:v>
                </c:pt>
                <c:pt idx="6">
                  <c:v>8.156779882730071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E-3</c:v>
                </c:pt>
                <c:pt idx="4">
                  <c:v>0.48080000000000001</c:v>
                </c:pt>
                <c:pt idx="5">
                  <c:v>0.51090000000000002</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4522138128859824E-5</c:v>
                </c:pt>
                <c:pt idx="4">
                  <c:v>7.6577336078313841E-3</c:v>
                </c:pt>
                <c:pt idx="5">
                  <c:v>8.1377009762577928E-3</c:v>
                </c:pt>
                <c:pt idx="6">
                  <c:v>1.069224341099282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20534681949976388</c:v>
                </c:pt>
                <c:pt idx="4">
                  <c:v>6.2816188633173675E-2</c:v>
                </c:pt>
                <c:pt idx="5">
                  <c:v>8.5138690245005737E-3</c:v>
                </c:pt>
                <c:pt idx="6">
                  <c:v>0.109032914083353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635029126853426E-2</c:v>
                </c:pt>
                <c:pt idx="1">
                  <c:v>3.4166723402832513E-2</c:v>
                </c:pt>
                <c:pt idx="2">
                  <c:v>2.7296645669035694E-3</c:v>
                </c:pt>
                <c:pt idx="3">
                  <c:v>2.5760475818157724E-2</c:v>
                </c:pt>
                <c:pt idx="4">
                  <c:v>1.8633177306858179E-2</c:v>
                </c:pt>
                <c:pt idx="5">
                  <c:v>7.0172905181631251E-3</c:v>
                </c:pt>
                <c:pt idx="6">
                  <c:v>5.963742319114401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999999999999996E-3</c:v>
                </c:pt>
                <c:pt idx="4">
                  <c:v>0.85809999999999997</c:v>
                </c:pt>
                <c:pt idx="5">
                  <c:v>0.13220000000000001</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3632585386983887E-4</c:v>
                </c:pt>
                <c:pt idx="4">
                  <c:v>1.445887049676318E-2</c:v>
                </c:pt>
                <c:pt idx="5">
                  <c:v>2.228482216707889E-3</c:v>
                </c:pt>
                <c:pt idx="6">
                  <c:v>2.711753762172397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4.1858279763072143E-4</c:v>
                </c:pt>
                <c:pt idx="3">
                  <c:v>0.21510621851788705</c:v>
                </c:pt>
                <c:pt idx="4">
                  <c:v>5.1082170789827311E-2</c:v>
                </c:pt>
                <c:pt idx="5">
                  <c:v>2.2577571702538787E-3</c:v>
                </c:pt>
                <c:pt idx="6">
                  <c:v>9.66106353664491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9.0448613106210926E-2</c:v>
                </c:pt>
                <c:pt idx="1">
                  <c:v>3.2311526189170929E-2</c:v>
                </c:pt>
                <c:pt idx="2">
                  <c:v>6.4506282079278025E-3</c:v>
                </c:pt>
                <c:pt idx="3">
                  <c:v>2.609033391070912E-2</c:v>
                </c:pt>
                <c:pt idx="4">
                  <c:v>1.8101024470940932E-2</c:v>
                </c:pt>
                <c:pt idx="5">
                  <c:v>6.0924971644996887E-3</c:v>
                </c:pt>
                <c:pt idx="6">
                  <c:v>5.55940007880470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91672406185402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waiian Tropic</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6915167595068131</c:v>
                </c:pt>
                <c:pt idx="4">
                  <c:v>3.9276718444238815E-2</c:v>
                </c:pt>
                <c:pt idx="5">
                  <c:v>5.4499915405247269E-3</c:v>
                </c:pt>
                <c:pt idx="6">
                  <c:v>1.63071836281550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1571649433934788E-3</c:v>
                </c:pt>
                <c:pt idx="1">
                  <c:v>4.4388287578937954E-4</c:v>
                </c:pt>
                <c:pt idx="3">
                  <c:v>0.15866316698322888</c:v>
                </c:pt>
                <c:pt idx="4">
                  <c:v>1.1317174473493403E-2</c:v>
                </c:pt>
                <c:pt idx="5">
                  <c:v>6.7015801828251972E-3</c:v>
                </c:pt>
                <c:pt idx="6">
                  <c:v>9.48650287158195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0.14161276241866919</c:v>
                </c:pt>
                <c:pt idx="1">
                  <c:v>1.1875323368893796E-2</c:v>
                </c:pt>
                <c:pt idx="2">
                  <c:v>1.5026028589996013E-3</c:v>
                </c:pt>
                <c:pt idx="4">
                  <c:v>4.7279075395155641E-3</c:v>
                </c:pt>
                <c:pt idx="5">
                  <c:v>5.3520383892745381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0141968893562329E-2</c:v>
                </c:pt>
                <c:pt idx="1">
                  <c:v>6.3949868555745276E-2</c:v>
                </c:pt>
                <c:pt idx="2">
                  <c:v>5.8469464418697721E-3</c:v>
                </c:pt>
                <c:pt idx="3">
                  <c:v>0.1427121651261222</c:v>
                </c:pt>
                <c:pt idx="4">
                  <c:v>1.1209587653142521E-2</c:v>
                </c:pt>
                <c:pt idx="5">
                  <c:v>2.9469589056099828E-3</c:v>
                </c:pt>
                <c:pt idx="6">
                  <c:v>2.81700960539731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528</c:v>
                </c:pt>
                <c:pt idx="4">
                  <c:v>0.41149999999999998</c:v>
                </c:pt>
                <c:pt idx="5">
                  <c:v>1.0500000000000001E-2</c:v>
                </c:pt>
                <c:pt idx="6">
                  <c:v>0.225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5">
                  <c:v>9.590998958350803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4143359998807414</c:v>
                </c:pt>
                <c:pt idx="4">
                  <c:v>5.5021438593941291E-2</c:v>
                </c:pt>
                <c:pt idx="5">
                  <c:v>5.4997959560159432E-2</c:v>
                </c:pt>
                <c:pt idx="6">
                  <c:v>0.561218599121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2.6125083620765155E-2</c:v>
                </c:pt>
                <c:pt idx="4">
                  <c:v>2.6685226283846612E-2</c:v>
                </c:pt>
                <c:pt idx="5">
                  <c:v>1.0474630531315627E-2</c:v>
                </c:pt>
                <c:pt idx="6">
                  <c:v>4.65128976295492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4">
                  <c:v>1.3243293102195291E-3</c:v>
                </c:pt>
                <c:pt idx="5">
                  <c:v>2.8177449319760215E-2</c:v>
                </c:pt>
                <c:pt idx="6">
                  <c:v>3.73955788606705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4.0335489304927433E-3</c:v>
                </c:pt>
                <c:pt idx="6">
                  <c:v>5.6405583537843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99999999999999E-3</c:v>
                </c:pt>
                <c:pt idx="4">
                  <c:v>0.87050000000000005</c:v>
                </c:pt>
                <c:pt idx="5">
                  <c:v>0.122</c:v>
                </c:pt>
                <c:pt idx="6">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360764882350741E-5</c:v>
                </c:pt>
                <c:pt idx="4">
                  <c:v>2.2030001535288776E-2</c:v>
                </c:pt>
                <c:pt idx="5">
                  <c:v>3.0879748499041183E-3</c:v>
                </c:pt>
                <c:pt idx="6">
                  <c:v>1.35282533606518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9812411822074971</c:v>
                </c:pt>
                <c:pt idx="4">
                  <c:v>0.12110982254643421</c:v>
                </c:pt>
                <c:pt idx="5">
                  <c:v>2.0256630775317987E-3</c:v>
                </c:pt>
                <c:pt idx="6">
                  <c:v>9.467888938121991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822836866523649</c:v>
                </c:pt>
                <c:pt idx="4">
                  <c:v>0.1478614347494501</c:v>
                </c:pt>
                <c:pt idx="5">
                  <c:v>4.7172984125569053E-3</c:v>
                </c:pt>
                <c:pt idx="6">
                  <c:v>7.2284596735232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7.4757629373164755E-2</c:v>
                </c:pt>
                <c:pt idx="4">
                  <c:v>3.3152109946541546E-2</c:v>
                </c:pt>
                <c:pt idx="5">
                  <c:v>5.6539393288853323E-3</c:v>
                </c:pt>
                <c:pt idx="6">
                  <c:v>1.64692540421120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1.3905432487862185E-2</c:v>
                </c:pt>
                <c:pt idx="1">
                  <c:v>1.2128541643948871E-2</c:v>
                </c:pt>
                <c:pt idx="2">
                  <c:v>2.3479955188701737E-3</c:v>
                </c:pt>
                <c:pt idx="3">
                  <c:v>2.3149621817963706E-2</c:v>
                </c:pt>
                <c:pt idx="4">
                  <c:v>2.2821916830734975E-2</c:v>
                </c:pt>
                <c:pt idx="5">
                  <c:v>4.0761678322806137E-4</c:v>
                </c:pt>
                <c:pt idx="6">
                  <c:v>8.68883870653428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7755887725283318E-2</c:v>
                </c:pt>
                <c:pt idx="4">
                  <c:v>6.7371682805771216E-2</c:v>
                </c:pt>
                <c:pt idx="5">
                  <c:v>1.7201227303588037E-3</c:v>
                </c:pt>
                <c:pt idx="6">
                  <c:v>3.68717104515123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2.0622886308163387E-5</c:v>
                </c:pt>
                <c:pt idx="1">
                  <c:v>1.9573336850084559E-6</c:v>
                </c:pt>
                <c:pt idx="3">
                  <c:v>0.12687083384955194</c:v>
                </c:pt>
                <c:pt idx="4">
                  <c:v>0.16486033211851786</c:v>
                </c:pt>
                <c:pt idx="5">
                  <c:v>3.4297907312462054E-3</c:v>
                </c:pt>
                <c:pt idx="6">
                  <c:v>3.106064836754370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2601851359611469E-2</c:v>
                </c:pt>
                <c:pt idx="4">
                  <c:v>6.8816156125501474E-2</c:v>
                </c:pt>
                <c:pt idx="5">
                  <c:v>8.9718493342852285E-3</c:v>
                </c:pt>
                <c:pt idx="6">
                  <c:v>1.07468352090987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2470930712319332E-4</c:v>
                </c:pt>
                <c:pt idx="3">
                  <c:v>5.1526765450565878E-2</c:v>
                </c:pt>
                <c:pt idx="4">
                  <c:v>9.0777765583736972E-3</c:v>
                </c:pt>
                <c:pt idx="5">
                  <c:v>1.1621177443904434E-3</c:v>
                </c:pt>
                <c:pt idx="6">
                  <c:v>3.900673377242528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5.9635120328183466E-2</c:v>
                </c:pt>
                <c:pt idx="1">
                  <c:v>6.9831596138844446E-2</c:v>
                </c:pt>
                <c:pt idx="2">
                  <c:v>1.6051760737100105E-2</c:v>
                </c:pt>
                <c:pt idx="3">
                  <c:v>4.0271265031848885E-2</c:v>
                </c:pt>
                <c:pt idx="4">
                  <c:v>2.8818975610828277E-2</c:v>
                </c:pt>
                <c:pt idx="5">
                  <c:v>1.9512483059853449E-2</c:v>
                </c:pt>
                <c:pt idx="6">
                  <c:v>8.26481422708401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7059999999999998</c:v>
                </c:pt>
                <c:pt idx="4">
                  <c:v>0.45</c:v>
                </c:pt>
                <c:pt idx="5">
                  <c:v>1.4999999999999999E-2</c:v>
                </c:pt>
                <c:pt idx="6">
                  <c:v>0.1643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2919226767409653E-2</c:v>
                </c:pt>
                <c:pt idx="4">
                  <c:v>3.9972716825472827E-2</c:v>
                </c:pt>
                <c:pt idx="5">
                  <c:v>1.3302100294657144E-3</c:v>
                </c:pt>
                <c:pt idx="6">
                  <c:v>1.45989915180397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3856391454342183E-2</c:v>
                </c:pt>
                <c:pt idx="1">
                  <c:v>0.10367918669817955</c:v>
                </c:pt>
                <c:pt idx="2">
                  <c:v>1.5448243902177162E-3</c:v>
                </c:pt>
                <c:pt idx="3">
                  <c:v>1.11147376505400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8713737177482349E-2</c:v>
                </c:pt>
                <c:pt idx="4">
                  <c:v>8.4593375541374E-2</c:v>
                </c:pt>
                <c:pt idx="5">
                  <c:v>1.7885954421818177E-3</c:v>
                </c:pt>
                <c:pt idx="6">
                  <c:v>2.2964048619103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2.9505463662323612E-2</c:v>
                </c:pt>
                <c:pt idx="4">
                  <c:v>3.8637263304953699E-2</c:v>
                </c:pt>
                <c:pt idx="5">
                  <c:v>3.1946835183702402E-3</c:v>
                </c:pt>
                <c:pt idx="6">
                  <c:v>5.79395301396869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5474645260110581</c:v>
                </c:pt>
                <c:pt idx="1">
                  <c:v>0.11359584148805352</c:v>
                </c:pt>
                <c:pt idx="2">
                  <c:v>4.3910551883943515E-2</c:v>
                </c:pt>
                <c:pt idx="3">
                  <c:v>6.8457165660084571E-2</c:v>
                </c:pt>
                <c:pt idx="4">
                  <c:v>2.0404841197022842E-2</c:v>
                </c:pt>
                <c:pt idx="5">
                  <c:v>1.612457611615652E-2</c:v>
                </c:pt>
                <c:pt idx="6">
                  <c:v>5.85531654402076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254</c:v>
                </c:pt>
                <c:pt idx="4">
                  <c:v>0.39750000000000002</c:v>
                </c:pt>
                <c:pt idx="5">
                  <c:v>9.4999999999999998E-3</c:v>
                </c:pt>
                <c:pt idx="6">
                  <c:v>0.167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0257134604811853E-2</c:v>
                </c:pt>
                <c:pt idx="4">
                  <c:v>3.7609461519665988E-2</c:v>
                </c:pt>
                <c:pt idx="5">
                  <c:v>8.9859032439413222E-4</c:v>
                </c:pt>
                <c:pt idx="6">
                  <c:v>1.585971165522187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9.027597574452607E-5</c:v>
                </c:pt>
                <c:pt idx="3">
                  <c:v>0.11339927484852171</c:v>
                </c:pt>
                <c:pt idx="4">
                  <c:v>6.3935447025581307E-2</c:v>
                </c:pt>
                <c:pt idx="5">
                  <c:v>1.2253312385760713E-3</c:v>
                </c:pt>
                <c:pt idx="6">
                  <c:v>2.0837602307564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7075290891505158E-2</c:v>
                </c:pt>
                <c:pt idx="1">
                  <c:v>0.10659505248980324</c:v>
                </c:pt>
                <c:pt idx="2">
                  <c:v>1.2521435301671093E-3</c:v>
                </c:pt>
                <c:pt idx="3">
                  <c:v>1.18033239035327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1327343362563844E-2</c:v>
                </c:pt>
                <c:pt idx="1">
                  <c:v>1.5929518742014953E-2</c:v>
                </c:pt>
                <c:pt idx="2">
                  <c:v>1.3554854268655106E-4</c:v>
                </c:pt>
                <c:pt idx="3">
                  <c:v>2.05813645981086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2687320260961352</c:v>
                </c:pt>
                <c:pt idx="1">
                  <c:v>8.0606626544411808E-2</c:v>
                </c:pt>
                <c:pt idx="2">
                  <c:v>3.8164209035782277E-2</c:v>
                </c:pt>
                <c:pt idx="3">
                  <c:v>0.11018800364494399</c:v>
                </c:pt>
                <c:pt idx="4">
                  <c:v>5.785566799624399E-2</c:v>
                </c:pt>
                <c:pt idx="5">
                  <c:v>1.7052339060685127E-2</c:v>
                </c:pt>
                <c:pt idx="6">
                  <c:v>5.10268420095035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66559999999999997</c:v>
                </c:pt>
                <c:pt idx="4">
                  <c:v>0.2419</c:v>
                </c:pt>
                <c:pt idx="5">
                  <c:v>3.44E-2</c:v>
                </c:pt>
                <c:pt idx="6">
                  <c:v>5.82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0253073050899588E-2</c:v>
                </c:pt>
                <c:pt idx="4">
                  <c:v>1.0993292593136462E-2</c:v>
                </c:pt>
                <c:pt idx="5">
                  <c:v>1.5623254380348816E-3</c:v>
                </c:pt>
                <c:pt idx="6">
                  <c:v>2.644984411895766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349108051016715E-2</c:v>
                </c:pt>
                <c:pt idx="1">
                  <c:v>0.14230888664389008</c:v>
                </c:pt>
                <c:pt idx="2">
                  <c:v>1.8235403033562423E-3</c:v>
                </c:pt>
                <c:pt idx="3">
                  <c:v>1.80346722807270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7275001892197168E-2</c:v>
                </c:pt>
                <c:pt idx="1">
                  <c:v>1.3203775060090376E-2</c:v>
                </c:pt>
                <c:pt idx="2">
                  <c:v>1.87636187350009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974621060697665E-4</c:v>
                </c:pt>
                <c:pt idx="1">
                  <c:v>6.1277873794495977E-5</c:v>
                </c:pt>
                <c:pt idx="3">
                  <c:v>7.3643974573782481E-2</c:v>
                </c:pt>
                <c:pt idx="4">
                  <c:v>5.1384333001284173E-3</c:v>
                </c:pt>
                <c:pt idx="5">
                  <c:v>1.5204897240889087E-3</c:v>
                </c:pt>
                <c:pt idx="6">
                  <c:v>1.3099732422164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1226114376827074</c:v>
                </c:pt>
                <c:pt idx="1">
                  <c:v>0.11588699140974738</c:v>
                </c:pt>
                <c:pt idx="2">
                  <c:v>6.4880448354407705E-2</c:v>
                </c:pt>
                <c:pt idx="3">
                  <c:v>9.5505097548102866E-2</c:v>
                </c:pt>
                <c:pt idx="4">
                  <c:v>1.4947232335734187E-2</c:v>
                </c:pt>
                <c:pt idx="5">
                  <c:v>1.007286994397485E-2</c:v>
                </c:pt>
                <c:pt idx="6">
                  <c:v>2.10442941634519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26</c:v>
                </c:pt>
                <c:pt idx="4">
                  <c:v>0.25330000000000003</c:v>
                </c:pt>
                <c:pt idx="5">
                  <c:v>0.35020000000000001</c:v>
                </c:pt>
                <c:pt idx="6">
                  <c:v>0.253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5934083637333614E-3</c:v>
                </c:pt>
                <c:pt idx="4">
                  <c:v>9.9330474604290304E-3</c:v>
                </c:pt>
                <c:pt idx="5">
                  <c:v>1.3736245980386048E-2</c:v>
                </c:pt>
                <c:pt idx="6">
                  <c:v>9.958461163194352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2214049764099401E-3</c:v>
                </c:pt>
                <c:pt idx="6">
                  <c:v>0.27707127861405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732730990011735E-2</c:v>
                </c:pt>
                <c:pt idx="4">
                  <c:v>9.657055446316086E-2</c:v>
                </c:pt>
                <c:pt idx="5">
                  <c:v>8.3548365707411767E-2</c:v>
                </c:pt>
                <c:pt idx="6">
                  <c:v>0.1237846804284726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59866233758669E-2</c:v>
                </c:pt>
                <c:pt idx="3">
                  <c:v>0.104902179586070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6358714294844754E-4</c:v>
                </c:pt>
                <c:pt idx="3">
                  <c:v>2.5933187574909582E-2</c:v>
                </c:pt>
                <c:pt idx="4">
                  <c:v>1.1931154957439427E-2</c:v>
                </c:pt>
                <c:pt idx="5">
                  <c:v>6.4742983683604913E-2</c:v>
                </c:pt>
                <c:pt idx="6">
                  <c:v>0.1158780665701770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6659999999999998</c:v>
                </c:pt>
                <c:pt idx="4">
                  <c:v>0.4138</c:v>
                </c:pt>
                <c:pt idx="5">
                  <c:v>1.1299999999999999E-2</c:v>
                </c:pt>
                <c:pt idx="6">
                  <c:v>0.208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1932610379062989E-2</c:v>
                </c:pt>
                <c:pt idx="4">
                  <c:v>4.3975784559535394E-2</c:v>
                </c:pt>
                <c:pt idx="5">
                  <c:v>2.0908153334124125E-3</c:v>
                </c:pt>
                <c:pt idx="6">
                  <c:v>1.66122004914694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2139003426072318E-2</c:v>
                </c:pt>
                <c:pt idx="1">
                  <c:v>9.9619176558002356E-2</c:v>
                </c:pt>
                <c:pt idx="2">
                  <c:v>1.484330062582456E-3</c:v>
                </c:pt>
                <c:pt idx="3">
                  <c:v>1.06794916864877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0592532513710326E-5</c:v>
                </c:pt>
                <c:pt idx="1">
                  <c:v>7.8666983162744692E-7</c:v>
                </c:pt>
                <c:pt idx="3">
                  <c:v>8.5255314881073227E-2</c:v>
                </c:pt>
                <c:pt idx="4">
                  <c:v>8.3526185002393394E-2</c:v>
                </c:pt>
                <c:pt idx="5">
                  <c:v>1.7185551972378401E-3</c:v>
                </c:pt>
                <c:pt idx="6">
                  <c:v>2.34110584572720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2.8584247932564741E-2</c:v>
                </c:pt>
                <c:pt idx="4">
                  <c:v>3.7720700560555709E-2</c:v>
                </c:pt>
                <c:pt idx="5">
                  <c:v>3.4738564587992191E-3</c:v>
                </c:pt>
                <c:pt idx="6">
                  <c:v>1.07690695870323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6006427625122124</c:v>
                </c:pt>
                <c:pt idx="1">
                  <c:v>0.11117304405948432</c:v>
                </c:pt>
                <c:pt idx="2">
                  <c:v>4.2674888197337883E-2</c:v>
                </c:pt>
                <c:pt idx="3">
                  <c:v>6.7016926750802674E-2</c:v>
                </c:pt>
                <c:pt idx="4">
                  <c:v>2.0535365001854957E-2</c:v>
                </c:pt>
                <c:pt idx="5">
                  <c:v>1.6244777017588911E-2</c:v>
                </c:pt>
                <c:pt idx="6">
                  <c:v>5.92869429458109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7667783549627004E-2</c:v>
                </c:pt>
                <c:pt idx="4">
                  <c:v>6.507986221690501E-2</c:v>
                </c:pt>
                <c:pt idx="5">
                  <c:v>1.7848557843856722E-3</c:v>
                </c:pt>
                <c:pt idx="6">
                  <c:v>3.275268520889324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3301039870613909</c:v>
                </c:pt>
                <c:pt idx="4">
                  <c:v>0.16765189212467671</c:v>
                </c:pt>
                <c:pt idx="5">
                  <c:v>3.5970242136120173E-3</c:v>
                </c:pt>
                <c:pt idx="6">
                  <c:v>2.97438747876412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4651973056325685E-2</c:v>
                </c:pt>
                <c:pt idx="4">
                  <c:v>7.1175781902897153E-2</c:v>
                </c:pt>
                <c:pt idx="5">
                  <c:v>8.6116450770151887E-3</c:v>
                </c:pt>
                <c:pt idx="6">
                  <c:v>6.5497244837350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4054183815550819E-4</c:v>
                </c:pt>
                <c:pt idx="3">
                  <c:v>5.4039163756048954E-2</c:v>
                </c:pt>
                <c:pt idx="4">
                  <c:v>9.448819149863617E-3</c:v>
                </c:pt>
                <c:pt idx="5">
                  <c:v>8.3807634791804278E-4</c:v>
                </c:pt>
                <c:pt idx="6">
                  <c:v>2.5332616876730765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6.0449333597245178E-2</c:v>
                </c:pt>
                <c:pt idx="1">
                  <c:v>7.0785377562273599E-2</c:v>
                </c:pt>
                <c:pt idx="2">
                  <c:v>1.5213048099178769E-2</c:v>
                </c:pt>
                <c:pt idx="3">
                  <c:v>3.7151715824977685E-2</c:v>
                </c:pt>
                <c:pt idx="4">
                  <c:v>2.9278291280202387E-2</c:v>
                </c:pt>
                <c:pt idx="5">
                  <c:v>1.8567833790140608E-2</c:v>
                </c:pt>
                <c:pt idx="6">
                  <c:v>8.16077643804549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0910000000000002</c:v>
                </c:pt>
                <c:pt idx="4">
                  <c:v>0.42120000000000002</c:v>
                </c:pt>
                <c:pt idx="5">
                  <c:v>4.3E-3</c:v>
                </c:pt>
                <c:pt idx="6">
                  <c:v>0.165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2187769289831998</c:v>
                </c:pt>
                <c:pt idx="4">
                  <c:v>0.12550493895390463</c:v>
                </c:pt>
                <c:pt idx="5">
                  <c:v>1.2950770856719335E-3</c:v>
                </c:pt>
                <c:pt idx="6">
                  <c:v>4.925878742254907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20534681949976388</c:v>
                </c:pt>
                <c:pt idx="4">
                  <c:v>6.2816188633173675E-2</c:v>
                </c:pt>
                <c:pt idx="5">
                  <c:v>8.5138690245005737E-3</c:v>
                </c:pt>
                <c:pt idx="6">
                  <c:v>0.109032914083353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0757374510302281E-2</c:v>
                </c:pt>
                <c:pt idx="1">
                  <c:v>4.1615044832070238E-3</c:v>
                </c:pt>
                <c:pt idx="2">
                  <c:v>5.0339920301233911E-4</c:v>
                </c:pt>
                <c:pt idx="3">
                  <c:v>7.7955491871060221E-5</c:v>
                </c:pt>
                <c:pt idx="4">
                  <c:v>1.9673534044485838E-3</c:v>
                </c:pt>
                <c:pt idx="5">
                  <c:v>2.7479041337283945E-4</c:v>
                </c:pt>
                <c:pt idx="6">
                  <c:v>5.441184059956033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5592916758231972E-2</c:v>
                </c:pt>
                <c:pt idx="1">
                  <c:v>3.0005218919625487E-2</c:v>
                </c:pt>
                <c:pt idx="2">
                  <c:v>2.2262653638912304E-3</c:v>
                </c:pt>
                <c:pt idx="3">
                  <c:v>2.5707042464415523E-2</c:v>
                </c:pt>
                <c:pt idx="4">
                  <c:v>2.4323557510240977E-2</c:v>
                </c:pt>
                <c:pt idx="5">
                  <c:v>1.4880201081048079E-2</c:v>
                </c:pt>
                <c:pt idx="6">
                  <c:v>1.591782600257650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5929999999999999</c:v>
                </c:pt>
                <c:pt idx="4">
                  <c:v>0.36670000000000003</c:v>
                </c:pt>
                <c:pt idx="5">
                  <c:v>5.7000000000000002E-3</c:v>
                </c:pt>
                <c:pt idx="6">
                  <c:v>0.168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4178791596054161</c:v>
                </c:pt>
                <c:pt idx="4">
                  <c:v>0.1132051880598899</c:v>
                </c:pt>
                <c:pt idx="5">
                  <c:v>1.7548768805348445E-3</c:v>
                </c:pt>
                <c:pt idx="6">
                  <c:v>5.196763370165188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4.1858279763072143E-4</c:v>
                </c:pt>
                <c:pt idx="3">
                  <c:v>0.21510621851788705</c:v>
                </c:pt>
                <c:pt idx="4">
                  <c:v>5.1082170789827311E-2</c:v>
                </c:pt>
                <c:pt idx="5">
                  <c:v>2.2577571702538787E-3</c:v>
                </c:pt>
                <c:pt idx="6">
                  <c:v>9.66106353664491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2330017306354649E-2</c:v>
                </c:pt>
                <c:pt idx="1">
                  <c:v>4.3600117444896952E-3</c:v>
                </c:pt>
                <c:pt idx="2">
                  <c:v>5.3904262819703041E-4</c:v>
                </c:pt>
                <c:pt idx="3">
                  <c:v>8.3469812377139269E-5</c:v>
                </c:pt>
                <c:pt idx="4">
                  <c:v>2.1139614421255178E-3</c:v>
                </c:pt>
                <c:pt idx="5">
                  <c:v>2.8674561429483292E-4</c:v>
                </c:pt>
                <c:pt idx="6">
                  <c:v>5.54580433684060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8118595799856277E-2</c:v>
                </c:pt>
                <c:pt idx="1">
                  <c:v>2.7951514444681236E-2</c:v>
                </c:pt>
                <c:pt idx="2">
                  <c:v>5.9115855797307725E-3</c:v>
                </c:pt>
                <c:pt idx="3">
                  <c:v>2.6143189952201822E-2</c:v>
                </c:pt>
                <c:pt idx="4">
                  <c:v>3.0445933525578596E-2</c:v>
                </c:pt>
                <c:pt idx="5">
                  <c:v>8.0342337669127451E-3</c:v>
                </c:pt>
                <c:pt idx="6">
                  <c:v>2.84771118181343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73480000000000001</c:v>
                </c:pt>
                <c:pt idx="4">
                  <c:v>0.1706</c:v>
                </c:pt>
                <c:pt idx="5">
                  <c:v>2.3699999999999999E-2</c:v>
                </c:pt>
                <c:pt idx="6">
                  <c:v>7.08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6915167595068131</c:v>
                </c:pt>
                <c:pt idx="4">
                  <c:v>3.9276718444238815E-2</c:v>
                </c:pt>
                <c:pt idx="5">
                  <c:v>5.4499915405247269E-3</c:v>
                </c:pt>
                <c:pt idx="6">
                  <c:v>1.63071836281550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1.1571649433934788E-3</c:v>
                </c:pt>
                <c:pt idx="1">
                  <c:v>4.4388287578937954E-4</c:v>
                </c:pt>
                <c:pt idx="3">
                  <c:v>0.15866316698322888</c:v>
                </c:pt>
                <c:pt idx="4">
                  <c:v>1.1317174473493403E-2</c:v>
                </c:pt>
                <c:pt idx="5">
                  <c:v>6.7015801828251972E-3</c:v>
                </c:pt>
                <c:pt idx="6">
                  <c:v>9.486502871581954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0.14161276241866919</c:v>
                </c:pt>
                <c:pt idx="1">
                  <c:v>1.1875323368893796E-2</c:v>
                </c:pt>
                <c:pt idx="2">
                  <c:v>1.5026028589996013E-3</c:v>
                </c:pt>
                <c:pt idx="4">
                  <c:v>4.7279075395155641E-3</c:v>
                </c:pt>
                <c:pt idx="5">
                  <c:v>5.3520383892745381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9.7941937283266403E-2</c:v>
                </c:pt>
                <c:pt idx="4">
                  <c:v>1.8036297047012094E-3</c:v>
                </c:pt>
                <c:pt idx="5">
                  <c:v>1.5677132989988499E-4</c:v>
                </c:pt>
                <c:pt idx="6">
                  <c:v>2.770065357863287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0141968893562329E-2</c:v>
                </c:pt>
                <c:pt idx="1">
                  <c:v>6.3949868555745276E-2</c:v>
                </c:pt>
                <c:pt idx="2">
                  <c:v>5.8469464418697721E-3</c:v>
                </c:pt>
                <c:pt idx="3">
                  <c:v>4.6686951904709818E-2</c:v>
                </c:pt>
                <c:pt idx="4">
                  <c:v>9.4059579484413111E-3</c:v>
                </c:pt>
                <c:pt idx="5">
                  <c:v>2.7901875757100976E-3</c:v>
                </c:pt>
                <c:pt idx="6">
                  <c:v>4.69442475340320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8979999999999998</c:v>
                </c:pt>
                <c:pt idx="4">
                  <c:v>0.41549999999999998</c:v>
                </c:pt>
                <c:pt idx="5">
                  <c:v>1.18E-2</c:v>
                </c:pt>
                <c:pt idx="6">
                  <c:v>0.182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379</c:v>
                </c:pt>
                <c:pt idx="4">
                  <c:v>0.24299999999999999</c:v>
                </c:pt>
                <c:pt idx="5">
                  <c:v>9.5399999999999999E-2</c:v>
                </c:pt>
                <c:pt idx="6">
                  <c:v>0.4235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6125083620765155E-2</c:v>
                </c:pt>
                <c:pt idx="4">
                  <c:v>2.6685226283846612E-2</c:v>
                </c:pt>
                <c:pt idx="5">
                  <c:v>1.0474630531315627E-2</c:v>
                </c:pt>
                <c:pt idx="6">
                  <c:v>4.65128976295492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4143359998807414</c:v>
                </c:pt>
                <c:pt idx="4">
                  <c:v>5.5021438593941291E-2</c:v>
                </c:pt>
                <c:pt idx="5">
                  <c:v>5.4997959560159432E-2</c:v>
                </c:pt>
                <c:pt idx="6">
                  <c:v>0.561218599121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4">
                  <c:v>1.3243293102195291E-3</c:v>
                </c:pt>
                <c:pt idx="5">
                  <c:v>2.8177449319760215E-2</c:v>
                </c:pt>
                <c:pt idx="6">
                  <c:v>3.73955788606705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4.03354893049274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5">
                  <c:v>9.5909989583508031E-4</c:v>
                </c:pt>
                <c:pt idx="6">
                  <c:v>5.6405583537843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6320000000000002</c:v>
                </c:pt>
                <c:pt idx="4">
                  <c:v>0.41880000000000001</c:v>
                </c:pt>
                <c:pt idx="5">
                  <c:v>1.34E-2</c:v>
                </c:pt>
                <c:pt idx="6">
                  <c:v>0.204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2822836866523649</c:v>
                </c:pt>
                <c:pt idx="4">
                  <c:v>0.1478614347494501</c:v>
                </c:pt>
                <c:pt idx="5">
                  <c:v>4.7172984125569053E-3</c:v>
                </c:pt>
                <c:pt idx="6">
                  <c:v>7.22845967352328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9812411822074971</c:v>
                </c:pt>
                <c:pt idx="4">
                  <c:v>0.12110982254643421</c:v>
                </c:pt>
                <c:pt idx="5">
                  <c:v>2.0256630775317987E-3</c:v>
                </c:pt>
                <c:pt idx="6">
                  <c:v>9.467888938121991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7.4757629373164755E-2</c:v>
                </c:pt>
                <c:pt idx="4">
                  <c:v>3.3152109946541546E-2</c:v>
                </c:pt>
                <c:pt idx="5">
                  <c:v>5.6539393288853323E-3</c:v>
                </c:pt>
                <c:pt idx="6">
                  <c:v>1.646925404211208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eauty Care</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360764882350741E-5</c:v>
                </c:pt>
                <c:pt idx="4">
                  <c:v>2.2030001535288776E-2</c:v>
                </c:pt>
                <c:pt idx="5">
                  <c:v>3.0879748499041183E-3</c:v>
                </c:pt>
                <c:pt idx="6">
                  <c:v>1.352825336065186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1.3905432487862185E-2</c:v>
                </c:pt>
                <c:pt idx="1">
                  <c:v>1.2128541643948871E-2</c:v>
                </c:pt>
                <c:pt idx="2">
                  <c:v>2.3479955188701737E-3</c:v>
                </c:pt>
                <c:pt idx="3">
                  <c:v>2.3149621817963706E-2</c:v>
                </c:pt>
                <c:pt idx="4">
                  <c:v>2.2821916830734975E-2</c:v>
                </c:pt>
                <c:pt idx="5">
                  <c:v>4.0761678322806137E-4</c:v>
                </c:pt>
                <c:pt idx="6">
                  <c:v>8.68883870653428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5489999999999999</c:v>
                </c:pt>
                <c:pt idx="4">
                  <c:v>0.46829999999999999</c:v>
                </c:pt>
                <c:pt idx="5">
                  <c:v>4.3099999999999999E-2</c:v>
                </c:pt>
                <c:pt idx="6">
                  <c:v>0.1337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8584247932564741E-2</c:v>
                </c:pt>
                <c:pt idx="4">
                  <c:v>3.7720700560555709E-2</c:v>
                </c:pt>
                <c:pt idx="5">
                  <c:v>3.4738564587992191E-3</c:v>
                </c:pt>
                <c:pt idx="6">
                  <c:v>1.07690695870323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2139003426072318E-2</c:v>
                </c:pt>
                <c:pt idx="1">
                  <c:v>9.9619176558002356E-2</c:v>
                </c:pt>
                <c:pt idx="2">
                  <c:v>1.484330062582456E-3</c:v>
                </c:pt>
                <c:pt idx="3">
                  <c:v>1.06794916864877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0592532513710326E-5</c:v>
                </c:pt>
                <c:pt idx="1">
                  <c:v>7.8666983162744692E-7</c:v>
                </c:pt>
                <c:pt idx="3">
                  <c:v>8.5255314881073227E-2</c:v>
                </c:pt>
                <c:pt idx="4">
                  <c:v>8.3526185002393394E-2</c:v>
                </c:pt>
                <c:pt idx="5">
                  <c:v>1.7185551972378401E-3</c:v>
                </c:pt>
                <c:pt idx="6">
                  <c:v>2.34110584572720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6006427625122124</c:v>
                </c:pt>
                <c:pt idx="1">
                  <c:v>0.11117304405948432</c:v>
                </c:pt>
                <c:pt idx="2">
                  <c:v>4.2674888197337883E-2</c:v>
                </c:pt>
                <c:pt idx="3">
                  <c:v>6.7016926750802674E-2</c:v>
                </c:pt>
                <c:pt idx="4">
                  <c:v>2.0535365001854957E-2</c:v>
                </c:pt>
                <c:pt idx="5">
                  <c:v>1.6244777017588911E-2</c:v>
                </c:pt>
                <c:pt idx="6">
                  <c:v>5.92869429458109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4159999999999999</c:v>
                </c:pt>
                <c:pt idx="4">
                  <c:v>0.38229999999999997</c:v>
                </c:pt>
                <c:pt idx="5">
                  <c:v>3.8300000000000001E-2</c:v>
                </c:pt>
                <c:pt idx="6">
                  <c:v>0.137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2">
                  <c:v>3.002907571357257E-6</c:v>
                </c:pt>
                <c:pt idx="3">
                  <c:v>3.7345802553416747E-2</c:v>
                </c:pt>
                <c:pt idx="4">
                  <c:v>3.2331197129198692E-2</c:v>
                </c:pt>
                <c:pt idx="5">
                  <c:v>3.2398950952034259E-3</c:v>
                </c:pt>
                <c:pt idx="6">
                  <c:v>1.164222545296135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9.0902520435075665E-6</c:v>
                </c:pt>
                <c:pt idx="1">
                  <c:v>8.6276267366761595E-7</c:v>
                </c:pt>
                <c:pt idx="2">
                  <c:v>8.653265565275048E-5</c:v>
                </c:pt>
                <c:pt idx="3">
                  <c:v>0.1087971022365138</c:v>
                </c:pt>
                <c:pt idx="4">
                  <c:v>6.3538102123591927E-2</c:v>
                </c:pt>
                <c:pt idx="5">
                  <c:v>1.1745656939459764E-3</c:v>
                </c:pt>
                <c:pt idx="6">
                  <c:v>2.118271758631785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5537952965683718E-2</c:v>
                </c:pt>
                <c:pt idx="1">
                  <c:v>0.10217505704385925</c:v>
                </c:pt>
                <c:pt idx="2">
                  <c:v>1.200223027557138E-3</c:v>
                </c:pt>
                <c:pt idx="3">
                  <c:v>1.13138955794028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4.9879243879641648E-2</c:v>
                </c:pt>
                <c:pt idx="1">
                  <c:v>1.5273564313872735E-2</c:v>
                </c:pt>
                <c:pt idx="2">
                  <c:v>1.7556911992264764E-4</c:v>
                </c:pt>
                <c:pt idx="3">
                  <c:v>7.1702148802078804E-4</c:v>
                </c:pt>
                <c:pt idx="6">
                  <c:v>2.566028368558206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3241919452362003</c:v>
                </c:pt>
                <c:pt idx="1">
                  <c:v>7.9608546171856392E-2</c:v>
                </c:pt>
                <c:pt idx="2">
                  <c:v>3.7196542733552163E-2</c:v>
                </c:pt>
                <c:pt idx="3">
                  <c:v>0.10870042856594671</c:v>
                </c:pt>
                <c:pt idx="4">
                  <c:v>6.6190160562397085E-2</c:v>
                </c:pt>
                <c:pt idx="5">
                  <c:v>1.5751676706845356E-2</c:v>
                </c:pt>
                <c:pt idx="6">
                  <c:v>6.45072608403618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1999999999999999E-3</c:v>
                </c:pt>
                <c:pt idx="3">
                  <c:v>0.68369999999999997</c:v>
                </c:pt>
                <c:pt idx="4">
                  <c:v>4.1599999999999998E-2</c:v>
                </c:pt>
                <c:pt idx="5">
                  <c:v>1.4500000000000001E-2</c:v>
                </c:pt>
                <c:pt idx="6">
                  <c:v>0.258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1">
                  <c:v>1.4103305042679024E-5</c:v>
                </c:pt>
                <c:pt idx="2">
                  <c:v>5.7633139480611572E-5</c:v>
                </c:pt>
                <c:pt idx="3">
                  <c:v>3.2678797279063525E-2</c:v>
                </c:pt>
                <c:pt idx="4">
                  <c:v>1.986195840889458E-3</c:v>
                </c:pt>
                <c:pt idx="5">
                  <c:v>6.9443390208018371E-4</c:v>
                </c:pt>
                <c:pt idx="6">
                  <c:v>1.236606403075573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1106628368099922E-2</c:v>
                </c:pt>
                <c:pt idx="1">
                  <c:v>0.13696437640927706</c:v>
                </c:pt>
                <c:pt idx="2">
                  <c:v>1.7550559659100175E-3</c:v>
                </c:pt>
                <c:pt idx="3">
                  <c:v>1.7357367490735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4817539825522301E-2</c:v>
                </c:pt>
                <c:pt idx="1">
                  <c:v>1.2734472935731198E-2</c:v>
                </c:pt>
                <c:pt idx="2">
                  <c:v>2.2493217215003916E-4</c:v>
                </c:pt>
                <c:pt idx="3">
                  <c:v>7.0164771402140896E-4</c:v>
                </c:pt>
                <c:pt idx="6">
                  <c:v>3.851946871773165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374682941818224E-4</c:v>
                </c:pt>
                <c:pt idx="1">
                  <c:v>5.8976540185797778E-5</c:v>
                </c:pt>
                <c:pt idx="3">
                  <c:v>7.0923383438124446E-2</c:v>
                </c:pt>
                <c:pt idx="4">
                  <c:v>5.1313010924813208E-3</c:v>
                </c:pt>
                <c:pt idx="5">
                  <c:v>1.4636398730239178E-3</c:v>
                </c:pt>
                <c:pt idx="6">
                  <c:v>1.26419738393219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2102792538192831</c:v>
                </c:pt>
                <c:pt idx="1">
                  <c:v>0.11317692186188981</c:v>
                </c:pt>
                <c:pt idx="2">
                  <c:v>6.2431927277303324E-2</c:v>
                </c:pt>
                <c:pt idx="3">
                  <c:v>9.0236814906936955E-2</c:v>
                </c:pt>
                <c:pt idx="4">
                  <c:v>2.777377512274392E-2</c:v>
                </c:pt>
                <c:pt idx="5">
                  <c:v>1.2617375096151887E-2</c:v>
                </c:pt>
                <c:pt idx="6">
                  <c:v>1.88991384148585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72E-2</c:v>
                </c:pt>
                <c:pt idx="4">
                  <c:v>0.1263</c:v>
                </c:pt>
                <c:pt idx="5">
                  <c:v>0.6865</c:v>
                </c:pt>
                <c:pt idx="6">
                  <c:v>0.100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22007466574753E-3</c:v>
                </c:pt>
                <c:pt idx="4">
                  <c:v>1.0451376111653789E-2</c:v>
                </c:pt>
                <c:pt idx="5">
                  <c:v>5.6827098905864515E-2</c:v>
                </c:pt>
                <c:pt idx="6">
                  <c:v>8.283179865251327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184833628921547E-3</c:v>
                </c:pt>
                <c:pt idx="6">
                  <c:v>0.272509809581233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045678326097249E-2</c:v>
                </c:pt>
                <c:pt idx="4">
                  <c:v>9.498069788954018E-2</c:v>
                </c:pt>
                <c:pt idx="5">
                  <c:v>8.2852438424223282E-2</c:v>
                </c:pt>
                <c:pt idx="6">
                  <c:v>0.12240381297416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407711693623543E-2</c:v>
                </c:pt>
                <c:pt idx="3">
                  <c:v>0.1031751581277262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4936976888713722E-4</c:v>
                </c:pt>
                <c:pt idx="3">
                  <c:v>2.3787493852212484E-2</c:v>
                </c:pt>
                <c:pt idx="4">
                  <c:v>1.1052872424472365E-2</c:v>
                </c:pt>
                <c:pt idx="5">
                  <c:v>2.036011457506124E-2</c:v>
                </c:pt>
                <c:pt idx="6">
                  <c:v>0.130608279185323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2490000000000002</c:v>
                </c:pt>
                <c:pt idx="4">
                  <c:v>0.52480000000000004</c:v>
                </c:pt>
                <c:pt idx="5">
                  <c:v>6.8400000000000002E-2</c:v>
                </c:pt>
                <c:pt idx="6">
                  <c:v>8.20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9156522563560794E-2</c:v>
                </c:pt>
                <c:pt idx="4">
                  <c:v>4.1739161996614378E-2</c:v>
                </c:pt>
                <c:pt idx="5">
                  <c:v>1.1821565036181829E-3</c:v>
                </c:pt>
                <c:pt idx="6">
                  <c:v>1.837095123680547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9.0902520435075665E-6</c:v>
                </c:pt>
                <c:pt idx="1">
                  <c:v>8.6276267366761595E-7</c:v>
                </c:pt>
                <c:pt idx="2">
                  <c:v>8.653265565275048E-5</c:v>
                </c:pt>
                <c:pt idx="3">
                  <c:v>0.1087971022365138</c:v>
                </c:pt>
                <c:pt idx="4">
                  <c:v>6.3538102123591927E-2</c:v>
                </c:pt>
                <c:pt idx="5">
                  <c:v>1.1745656939459764E-3</c:v>
                </c:pt>
                <c:pt idx="6">
                  <c:v>2.118271758631785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5537952965683718E-2</c:v>
                </c:pt>
                <c:pt idx="1">
                  <c:v>0.10217505704385925</c:v>
                </c:pt>
                <c:pt idx="2">
                  <c:v>1.200223027557138E-3</c:v>
                </c:pt>
                <c:pt idx="3">
                  <c:v>1.13138955794028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4.9879243879641648E-2</c:v>
                </c:pt>
                <c:pt idx="1">
                  <c:v>1.5273564313872735E-2</c:v>
                </c:pt>
                <c:pt idx="2">
                  <c:v>1.7556911992264764E-4</c:v>
                </c:pt>
                <c:pt idx="3">
                  <c:v>7.1702148802078804E-4</c:v>
                </c:pt>
                <c:pt idx="6">
                  <c:v>2.566028368558206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3241919452362003</c:v>
                </c:pt>
                <c:pt idx="1">
                  <c:v>7.9608546171856392E-2</c:v>
                </c:pt>
                <c:pt idx="2">
                  <c:v>3.7199545641123523E-2</c:v>
                </c:pt>
                <c:pt idx="3">
                  <c:v>0.10688970855580267</c:v>
                </c:pt>
                <c:pt idx="4">
                  <c:v>5.6782195694981392E-2</c:v>
                </c:pt>
                <c:pt idx="5">
                  <c:v>1.7809415298430598E-2</c:v>
                </c:pt>
                <c:pt idx="6">
                  <c:v>5.77785350565177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2601851359611469E-2</c:v>
                </c:pt>
                <c:pt idx="4">
                  <c:v>6.8816156125501474E-2</c:v>
                </c:pt>
                <c:pt idx="5">
                  <c:v>8.9718493342852285E-3</c:v>
                </c:pt>
                <c:pt idx="6">
                  <c:v>1.07468352090987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2.0622886308163387E-5</c:v>
                </c:pt>
                <c:pt idx="1">
                  <c:v>1.9573336850084559E-6</c:v>
                </c:pt>
                <c:pt idx="3">
                  <c:v>0.12687083384955194</c:v>
                </c:pt>
                <c:pt idx="4">
                  <c:v>0.16486033211851786</c:v>
                </c:pt>
                <c:pt idx="5">
                  <c:v>3.4297907312462054E-3</c:v>
                </c:pt>
                <c:pt idx="6">
                  <c:v>3.106064836754370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5.7755887725283318E-2</c:v>
                </c:pt>
                <c:pt idx="4">
                  <c:v>6.7371682805771216E-2</c:v>
                </c:pt>
                <c:pt idx="5">
                  <c:v>1.7201227303588037E-3</c:v>
                </c:pt>
                <c:pt idx="6">
                  <c:v>3.68717104515123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2470930712319332E-4</c:v>
                </c:pt>
                <c:pt idx="3">
                  <c:v>5.1526765450565878E-2</c:v>
                </c:pt>
                <c:pt idx="4">
                  <c:v>9.0777765583736972E-3</c:v>
                </c:pt>
                <c:pt idx="5">
                  <c:v>1.1621177443904434E-3</c:v>
                </c:pt>
                <c:pt idx="6">
                  <c:v>3.900673377242528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5.9635120328183466E-2</c:v>
                </c:pt>
                <c:pt idx="1">
                  <c:v>6.9831596138844446E-2</c:v>
                </c:pt>
                <c:pt idx="2">
                  <c:v>1.6051760737100105E-2</c:v>
                </c:pt>
                <c:pt idx="3">
                  <c:v>4.0271265031848885E-2</c:v>
                </c:pt>
                <c:pt idx="4">
                  <c:v>2.8818975610828277E-2</c:v>
                </c:pt>
                <c:pt idx="5">
                  <c:v>1.9512483059853449E-2</c:v>
                </c:pt>
                <c:pt idx="6">
                  <c:v>8.26481422708401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8250000000000001</c:v>
                </c:pt>
                <c:pt idx="4">
                  <c:v>0.50090000000000001</c:v>
                </c:pt>
                <c:pt idx="5">
                  <c:v>4.1399999999999999E-2</c:v>
                </c:pt>
                <c:pt idx="6">
                  <c:v>7.5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9505463662323612E-2</c:v>
                </c:pt>
                <c:pt idx="4">
                  <c:v>3.8637263304953699E-2</c:v>
                </c:pt>
                <c:pt idx="5">
                  <c:v>3.1946835183702402E-3</c:v>
                </c:pt>
                <c:pt idx="6">
                  <c:v>5.79395301396869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3856391454342183E-2</c:v>
                </c:pt>
                <c:pt idx="1">
                  <c:v>0.10367918669817955</c:v>
                </c:pt>
                <c:pt idx="2">
                  <c:v>1.5448243902177162E-3</c:v>
                </c:pt>
                <c:pt idx="3">
                  <c:v>1.11147376505400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8713737177482349E-2</c:v>
                </c:pt>
                <c:pt idx="4">
                  <c:v>8.4593375541374E-2</c:v>
                </c:pt>
                <c:pt idx="5">
                  <c:v>1.7885954421818177E-3</c:v>
                </c:pt>
                <c:pt idx="6">
                  <c:v>2.2964048619103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5474645260110581</c:v>
                </c:pt>
                <c:pt idx="1">
                  <c:v>0.11359584148805352</c:v>
                </c:pt>
                <c:pt idx="2">
                  <c:v>4.3910551883943515E-2</c:v>
                </c:pt>
                <c:pt idx="3">
                  <c:v>6.8457165660084571E-2</c:v>
                </c:pt>
                <c:pt idx="4">
                  <c:v>2.0404841197022842E-2</c:v>
                </c:pt>
                <c:pt idx="5">
                  <c:v>1.612457611615652E-2</c:v>
                </c:pt>
                <c:pt idx="6">
                  <c:v>5.85531654402076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778</c:v>
                </c:pt>
                <c:pt idx="4">
                  <c:v>0.40770000000000001</c:v>
                </c:pt>
                <c:pt idx="5">
                  <c:v>3.7900000000000003E-2</c:v>
                </c:pt>
                <c:pt idx="6">
                  <c:v>7.670000000000000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8639121225981975E-2</c:v>
                </c:pt>
                <c:pt idx="4">
                  <c:v>3.2972590313037446E-2</c:v>
                </c:pt>
                <c:pt idx="5">
                  <c:v>3.0617292355375699E-3</c:v>
                </c:pt>
                <c:pt idx="6">
                  <c:v>6.20126335975833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9.027597574452607E-5</c:v>
                </c:pt>
                <c:pt idx="3">
                  <c:v>0.11339927484852171</c:v>
                </c:pt>
                <c:pt idx="4">
                  <c:v>6.3935447025581307E-2</c:v>
                </c:pt>
                <c:pt idx="5">
                  <c:v>1.2253312385760713E-3</c:v>
                </c:pt>
                <c:pt idx="6">
                  <c:v>2.0837602307564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7075290891505158E-2</c:v>
                </c:pt>
                <c:pt idx="1">
                  <c:v>0.10659505248980324</c:v>
                </c:pt>
                <c:pt idx="2">
                  <c:v>1.2521435301671093E-3</c:v>
                </c:pt>
                <c:pt idx="3">
                  <c:v>1.18033239035327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1327343362563844E-2</c:v>
                </c:pt>
                <c:pt idx="1">
                  <c:v>1.5929518742014953E-2</c:v>
                </c:pt>
                <c:pt idx="2">
                  <c:v>1.3554854268655106E-4</c:v>
                </c:pt>
                <c:pt idx="3">
                  <c:v>2.05813645981086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2687320260961352</c:v>
                </c:pt>
                <c:pt idx="1">
                  <c:v>8.0606626544411808E-2</c:v>
                </c:pt>
                <c:pt idx="2">
                  <c:v>3.8164209035782277E-2</c:v>
                </c:pt>
                <c:pt idx="3">
                  <c:v>0.11180601702377388</c:v>
                </c:pt>
                <c:pt idx="4">
                  <c:v>6.2492539202872531E-2</c:v>
                </c:pt>
                <c:pt idx="5">
                  <c:v>1.4889200149541688E-2</c:v>
                </c:pt>
                <c:pt idx="6">
                  <c:v>6.068529030496704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2999999999999999E-3</c:v>
                </c:pt>
                <c:pt idx="3">
                  <c:v>0.79810000000000003</c:v>
                </c:pt>
                <c:pt idx="4">
                  <c:v>4.0500000000000001E-2</c:v>
                </c:pt>
                <c:pt idx="5">
                  <c:v>1.7299999999999999E-2</c:v>
                </c:pt>
                <c:pt idx="6">
                  <c:v>0.142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1">
                  <c:v>1.4653632508247376E-5</c:v>
                </c:pt>
                <c:pt idx="2">
                  <c:v>5.4292275058833337E-5</c:v>
                </c:pt>
                <c:pt idx="3">
                  <c:v>3.3261834276708833E-2</c:v>
                </c:pt>
                <c:pt idx="4">
                  <c:v>1.6861596904735865E-3</c:v>
                </c:pt>
                <c:pt idx="5">
                  <c:v>7.2153152552235054E-4</c:v>
                </c:pt>
                <c:pt idx="6">
                  <c:v>5.936323165864680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349108051016715E-2</c:v>
                </c:pt>
                <c:pt idx="1">
                  <c:v>0.14230888664389008</c:v>
                </c:pt>
                <c:pt idx="2">
                  <c:v>1.8235403033562423E-3</c:v>
                </c:pt>
                <c:pt idx="3">
                  <c:v>1.80346722807270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7275001892197168E-2</c:v>
                </c:pt>
                <c:pt idx="1">
                  <c:v>1.3203775060090376E-2</c:v>
                </c:pt>
                <c:pt idx="2">
                  <c:v>1.87636187350009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974621060697665E-4</c:v>
                </c:pt>
                <c:pt idx="1">
                  <c:v>6.1277873794495977E-5</c:v>
                </c:pt>
                <c:pt idx="3">
                  <c:v>7.3643974573782481E-2</c:v>
                </c:pt>
                <c:pt idx="4">
                  <c:v>5.1384333001284173E-3</c:v>
                </c:pt>
                <c:pt idx="5">
                  <c:v>1.5204897240889087E-3</c:v>
                </c:pt>
                <c:pt idx="6">
                  <c:v>1.3099732422164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1226114376827074</c:v>
                </c:pt>
                <c:pt idx="1">
                  <c:v>0.11587233777723913</c:v>
                </c:pt>
                <c:pt idx="2">
                  <c:v>6.4826156079348871E-2</c:v>
                </c:pt>
                <c:pt idx="3">
                  <c:v>9.2496336322293621E-2</c:v>
                </c:pt>
                <c:pt idx="4">
                  <c:v>2.4254365238397062E-2</c:v>
                </c:pt>
                <c:pt idx="5">
                  <c:v>1.091366385648738E-2</c:v>
                </c:pt>
                <c:pt idx="6">
                  <c:v>1.77529554094830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9240000000000004</c:v>
                </c:pt>
                <c:pt idx="4">
                  <c:v>0.29049999999999998</c:v>
                </c:pt>
                <c:pt idx="5">
                  <c:v>6.4299999999999996E-2</c:v>
                </c:pt>
                <c:pt idx="6">
                  <c:v>5.2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72E-2</c:v>
                </c:pt>
                <c:pt idx="4">
                  <c:v>0.1263</c:v>
                </c:pt>
                <c:pt idx="5">
                  <c:v>0.6865</c:v>
                </c:pt>
                <c:pt idx="6">
                  <c:v>0.100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3409295702115979E-3</c:v>
                </c:pt>
                <c:pt idx="4">
                  <c:v>1.0626318909334839E-2</c:v>
                </c:pt>
                <c:pt idx="5">
                  <c:v>5.7778312560457283E-2</c:v>
                </c:pt>
                <c:pt idx="6">
                  <c:v>8.42182980415330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2214049764099401E-3</c:v>
                </c:pt>
                <c:pt idx="6">
                  <c:v>0.27707127861405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732730990011735E-2</c:v>
                </c:pt>
                <c:pt idx="4">
                  <c:v>9.657055446316086E-2</c:v>
                </c:pt>
                <c:pt idx="5">
                  <c:v>8.3548365707411767E-2</c:v>
                </c:pt>
                <c:pt idx="6">
                  <c:v>0.1237846804284726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59866233758669E-2</c:v>
                </c:pt>
                <c:pt idx="3">
                  <c:v>0.104902179586070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6358714294844754E-4</c:v>
                </c:pt>
                <c:pt idx="3">
                  <c:v>2.4185666368431346E-2</c:v>
                </c:pt>
                <c:pt idx="4">
                  <c:v>1.1237883508533619E-2</c:v>
                </c:pt>
                <c:pt idx="5">
                  <c:v>2.070091710353367E-2</c:v>
                </c:pt>
                <c:pt idx="6">
                  <c:v>0.1174146979292180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4089999999999998</c:v>
                </c:pt>
                <c:pt idx="4">
                  <c:v>0.54339999999999999</c:v>
                </c:pt>
                <c:pt idx="5">
                  <c:v>6.5699999999999995E-2</c:v>
                </c:pt>
                <c:pt idx="6">
                  <c:v>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4651973056325685E-2</c:v>
                </c:pt>
                <c:pt idx="4">
                  <c:v>7.1175781902897153E-2</c:v>
                </c:pt>
                <c:pt idx="5">
                  <c:v>8.6116450770151887E-3</c:v>
                </c:pt>
                <c:pt idx="6">
                  <c:v>6.5497244837350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3301039870613909</c:v>
                </c:pt>
                <c:pt idx="4">
                  <c:v>0.16765189212467671</c:v>
                </c:pt>
                <c:pt idx="5">
                  <c:v>3.5970242136120173E-3</c:v>
                </c:pt>
                <c:pt idx="6">
                  <c:v>2.97438747876412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5.7667783549627004E-2</c:v>
                </c:pt>
                <c:pt idx="4">
                  <c:v>6.507986221690501E-2</c:v>
                </c:pt>
                <c:pt idx="5">
                  <c:v>1.7848557843856722E-3</c:v>
                </c:pt>
                <c:pt idx="6">
                  <c:v>3.27526852088932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4054183815550819E-4</c:v>
                </c:pt>
                <c:pt idx="3">
                  <c:v>5.4039163756048954E-2</c:v>
                </c:pt>
                <c:pt idx="4">
                  <c:v>9.448819149863617E-3</c:v>
                </c:pt>
                <c:pt idx="5">
                  <c:v>8.3807634791804278E-4</c:v>
                </c:pt>
                <c:pt idx="6">
                  <c:v>2.5332616876730765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6.0449333597245178E-2</c:v>
                </c:pt>
                <c:pt idx="1">
                  <c:v>7.0785377562273599E-2</c:v>
                </c:pt>
                <c:pt idx="2">
                  <c:v>1.5213048099178769E-2</c:v>
                </c:pt>
                <c:pt idx="3">
                  <c:v>3.7151715824977685E-2</c:v>
                </c:pt>
                <c:pt idx="4">
                  <c:v>2.9278291280202387E-2</c:v>
                </c:pt>
                <c:pt idx="5">
                  <c:v>1.8567833790140608E-2</c:v>
                </c:pt>
                <c:pt idx="6">
                  <c:v>8.16077643804549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9840000000000004</c:v>
                </c:pt>
                <c:pt idx="4">
                  <c:v>0.21229999999999999</c:v>
                </c:pt>
                <c:pt idx="5">
                  <c:v>3.4200000000000001E-2</c:v>
                </c:pt>
                <c:pt idx="6">
                  <c:v>0.155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4909531457801257E-2</c:v>
                </c:pt>
                <c:pt idx="4">
                  <c:v>2.6573563628055304E-2</c:v>
                </c:pt>
                <c:pt idx="5">
                  <c:v>4.279797571821323E-3</c:v>
                </c:pt>
                <c:pt idx="6">
                  <c:v>1.940994347139564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20534681949976388</c:v>
                </c:pt>
                <c:pt idx="4">
                  <c:v>6.2816188633173675E-2</c:v>
                </c:pt>
                <c:pt idx="5">
                  <c:v>8.5138690245005737E-3</c:v>
                </c:pt>
                <c:pt idx="6">
                  <c:v>0.109032914083353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0757374510302281E-2</c:v>
                </c:pt>
                <c:pt idx="1">
                  <c:v>4.1615044832070238E-3</c:v>
                </c:pt>
                <c:pt idx="2">
                  <c:v>5.0339920301233911E-4</c:v>
                </c:pt>
                <c:pt idx="3">
                  <c:v>7.7955491871060221E-5</c:v>
                </c:pt>
                <c:pt idx="4">
                  <c:v>1.9673534044485838E-3</c:v>
                </c:pt>
                <c:pt idx="5">
                  <c:v>2.7479041337283945E-4</c:v>
                </c:pt>
                <c:pt idx="6">
                  <c:v>5.441184059956033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5592916758231972E-2</c:v>
                </c:pt>
                <c:pt idx="1">
                  <c:v>3.0005218919625487E-2</c:v>
                </c:pt>
                <c:pt idx="2">
                  <c:v>2.2262653638912304E-3</c:v>
                </c:pt>
                <c:pt idx="3">
                  <c:v>2.5707042464415523E-2</c:v>
                </c:pt>
                <c:pt idx="4">
                  <c:v>2.4323557510240977E-2</c:v>
                </c:pt>
                <c:pt idx="5">
                  <c:v>1.4880201081048079E-2</c:v>
                </c:pt>
                <c:pt idx="6">
                  <c:v>1.591782600257650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62480000000000002</c:v>
                </c:pt>
                <c:pt idx="4">
                  <c:v>0.19040000000000001</c:v>
                </c:pt>
                <c:pt idx="5">
                  <c:v>2.6200000000000001E-2</c:v>
                </c:pt>
                <c:pt idx="6">
                  <c:v>0.158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8.0536663373353315E-2</c:v>
                </c:pt>
                <c:pt idx="4">
                  <c:v>2.4541623224562964E-2</c:v>
                </c:pt>
                <c:pt idx="5">
                  <c:v>3.3812597291690578E-3</c:v>
                </c:pt>
                <c:pt idx="6">
                  <c:v>2.044811526594578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4.1858279763072143E-4</c:v>
                </c:pt>
                <c:pt idx="3">
                  <c:v>0.21510621851788705</c:v>
                </c:pt>
                <c:pt idx="4">
                  <c:v>5.1082170789827311E-2</c:v>
                </c:pt>
                <c:pt idx="5">
                  <c:v>2.2577571702538787E-3</c:v>
                </c:pt>
                <c:pt idx="6">
                  <c:v>9.66106353664491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2330017306354649E-2</c:v>
                </c:pt>
                <c:pt idx="1">
                  <c:v>4.3600117444896952E-3</c:v>
                </c:pt>
                <c:pt idx="2">
                  <c:v>5.3904262819703041E-4</c:v>
                </c:pt>
                <c:pt idx="3">
                  <c:v>8.3469812377139269E-5</c:v>
                </c:pt>
                <c:pt idx="4">
                  <c:v>2.1139614421255178E-3</c:v>
                </c:pt>
                <c:pt idx="5">
                  <c:v>2.8674561429483292E-4</c:v>
                </c:pt>
                <c:pt idx="6">
                  <c:v>5.54580433684060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8118595799856277E-2</c:v>
                </c:pt>
                <c:pt idx="1">
                  <c:v>2.7951514444681236E-2</c:v>
                </c:pt>
                <c:pt idx="2">
                  <c:v>5.9115855797307725E-3</c:v>
                </c:pt>
                <c:pt idx="3">
                  <c:v>2.6143189952201822E-2</c:v>
                </c:pt>
                <c:pt idx="4">
                  <c:v>3.0445933525578596E-2</c:v>
                </c:pt>
                <c:pt idx="5">
                  <c:v>8.0342337669127451E-3</c:v>
                </c:pt>
                <c:pt idx="6">
                  <c:v>2.84771118181343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76759999999999995</c:v>
                </c:pt>
                <c:pt idx="4">
                  <c:v>1.41E-2</c:v>
                </c:pt>
                <c:pt idx="5">
                  <c:v>1.1999999999999999E-3</c:v>
                </c:pt>
                <c:pt idx="6">
                  <c:v>0.217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9.7941937283266403E-2</c:v>
                </c:pt>
                <c:pt idx="4">
                  <c:v>1.8036297047012094E-3</c:v>
                </c:pt>
                <c:pt idx="5">
                  <c:v>1.5677132989988499E-4</c:v>
                </c:pt>
                <c:pt idx="6">
                  <c:v>2.770065357863287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waiian Tropic</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6915167595068131</c:v>
                </c:pt>
                <c:pt idx="4">
                  <c:v>3.9276718444238815E-2</c:v>
                </c:pt>
                <c:pt idx="5">
                  <c:v>5.4499915405247269E-3</c:v>
                </c:pt>
                <c:pt idx="6">
                  <c:v>1.63071836281550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1571649433934788E-3</c:v>
                </c:pt>
                <c:pt idx="1">
                  <c:v>4.4388287578937954E-4</c:v>
                </c:pt>
                <c:pt idx="3">
                  <c:v>0.15866316698322888</c:v>
                </c:pt>
                <c:pt idx="4">
                  <c:v>1.1317174473493403E-2</c:v>
                </c:pt>
                <c:pt idx="5">
                  <c:v>6.7015801828251972E-3</c:v>
                </c:pt>
                <c:pt idx="6">
                  <c:v>9.48650287158195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0.14161276241866919</c:v>
                </c:pt>
                <c:pt idx="1">
                  <c:v>1.1875323368893796E-2</c:v>
                </c:pt>
                <c:pt idx="2">
                  <c:v>1.5026028589996013E-3</c:v>
                </c:pt>
                <c:pt idx="4">
                  <c:v>4.7279075395155641E-3</c:v>
                </c:pt>
                <c:pt idx="5">
                  <c:v>5.3520383892745381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0141968893562329E-2</c:v>
                </c:pt>
                <c:pt idx="1">
                  <c:v>6.3949868555745276E-2</c:v>
                </c:pt>
                <c:pt idx="2">
                  <c:v>5.8469464418697721E-3</c:v>
                </c:pt>
                <c:pt idx="3">
                  <c:v>4.6686951904709818E-2</c:v>
                </c:pt>
                <c:pt idx="4">
                  <c:v>9.4059579484413111E-3</c:v>
                </c:pt>
                <c:pt idx="5">
                  <c:v>2.7901875757100976E-3</c:v>
                </c:pt>
                <c:pt idx="6">
                  <c:v>4.69442475340320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9800000000000002E-2</c:v>
                </c:pt>
                <c:pt idx="5">
                  <c:v>0.42120000000000002</c:v>
                </c:pt>
                <c:pt idx="6">
                  <c:v>0.5590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4">
                  <c:v>1.3243293102195291E-3</c:v>
                </c:pt>
                <c:pt idx="5">
                  <c:v>2.8177449319760215E-2</c:v>
                </c:pt>
                <c:pt idx="6">
                  <c:v>3.73955788606705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4143359998807414</c:v>
                </c:pt>
                <c:pt idx="4">
                  <c:v>5.5021438593941291E-2</c:v>
                </c:pt>
                <c:pt idx="5">
                  <c:v>5.4997959560159432E-2</c:v>
                </c:pt>
                <c:pt idx="6">
                  <c:v>0.561218599121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2.6125083620765155E-2</c:v>
                </c:pt>
                <c:pt idx="4">
                  <c:v>2.6685226283846612E-2</c:v>
                </c:pt>
                <c:pt idx="5">
                  <c:v>1.0474630531315627E-2</c:v>
                </c:pt>
                <c:pt idx="6">
                  <c:v>4.65128976295492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4.03354893049274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5">
                  <c:v>9.5909989583508031E-4</c:v>
                </c:pt>
                <c:pt idx="6">
                  <c:v>5.6405583537843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7489999999999997</c:v>
                </c:pt>
                <c:pt idx="4">
                  <c:v>0.255</c:v>
                </c:pt>
                <c:pt idx="5">
                  <c:v>4.3499999999999997E-2</c:v>
                </c:pt>
                <c:pt idx="6">
                  <c:v>0.1267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9818773572826585E-2</c:v>
                </c:pt>
                <c:pt idx="4">
                  <c:v>1.4622076329802522E-2</c:v>
                </c:pt>
                <c:pt idx="5">
                  <c:v>3.2390174171978304E-3</c:v>
                </c:pt>
                <c:pt idx="6">
                  <c:v>2.658524170850826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1106628368099922E-2</c:v>
                </c:pt>
                <c:pt idx="1">
                  <c:v>0.13696437640927706</c:v>
                </c:pt>
                <c:pt idx="2">
                  <c:v>1.7550559659100175E-3</c:v>
                </c:pt>
                <c:pt idx="3">
                  <c:v>1.7357367490735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4817539825522301E-2</c:v>
                </c:pt>
                <c:pt idx="1">
                  <c:v>1.2734472935731198E-2</c:v>
                </c:pt>
                <c:pt idx="2">
                  <c:v>2.2493217215003916E-4</c:v>
                </c:pt>
                <c:pt idx="3">
                  <c:v>7.0164771402140896E-4</c:v>
                </c:pt>
                <c:pt idx="6">
                  <c:v>3.851946871773165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374682941818224E-4</c:v>
                </c:pt>
                <c:pt idx="1">
                  <c:v>5.8976540185797778E-5</c:v>
                </c:pt>
                <c:pt idx="3">
                  <c:v>7.0923383438124446E-2</c:v>
                </c:pt>
                <c:pt idx="4">
                  <c:v>5.1313010924813208E-3</c:v>
                </c:pt>
                <c:pt idx="5">
                  <c:v>1.4636398730239178E-3</c:v>
                </c:pt>
                <c:pt idx="6">
                  <c:v>1.26419738393219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2102792538192831</c:v>
                </c:pt>
                <c:pt idx="1">
                  <c:v>0.11319102516693248</c:v>
                </c:pt>
                <c:pt idx="2">
                  <c:v>6.248956041678394E-2</c:v>
                </c:pt>
                <c:pt idx="3">
                  <c:v>9.3096838613173888E-2</c:v>
                </c:pt>
                <c:pt idx="4">
                  <c:v>1.5137894633830855E-2</c:v>
                </c:pt>
                <c:pt idx="5">
                  <c:v>1.0072791581034241E-2</c:v>
                </c:pt>
                <c:pt idx="6">
                  <c:v>2.86066782747634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4757629373164755E-2</c:v>
                </c:pt>
                <c:pt idx="4">
                  <c:v>3.3152109946541546E-2</c:v>
                </c:pt>
                <c:pt idx="5">
                  <c:v>5.6539393288853323E-3</c:v>
                </c:pt>
                <c:pt idx="6">
                  <c:v>1.646925404211208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9812411822074971</c:v>
                </c:pt>
                <c:pt idx="4">
                  <c:v>0.12110982254643421</c:v>
                </c:pt>
                <c:pt idx="5">
                  <c:v>2.0256630775317987E-3</c:v>
                </c:pt>
                <c:pt idx="6">
                  <c:v>9.467888938121991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822836866523649</c:v>
                </c:pt>
                <c:pt idx="4">
                  <c:v>0.1478614347494501</c:v>
                </c:pt>
                <c:pt idx="5">
                  <c:v>4.7172984125569053E-3</c:v>
                </c:pt>
                <c:pt idx="6">
                  <c:v>7.2284596735232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eauty Care</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360764882350741E-5</c:v>
                </c:pt>
                <c:pt idx="4">
                  <c:v>2.2030001535288776E-2</c:v>
                </c:pt>
                <c:pt idx="5">
                  <c:v>3.0879748499041183E-3</c:v>
                </c:pt>
                <c:pt idx="6">
                  <c:v>1.352825336065186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1.3905432487862185E-2</c:v>
                </c:pt>
                <c:pt idx="1">
                  <c:v>1.2128541643948871E-2</c:v>
                </c:pt>
                <c:pt idx="2">
                  <c:v>2.3479955188701737E-3</c:v>
                </c:pt>
                <c:pt idx="3">
                  <c:v>2.3149621817963706E-2</c:v>
                </c:pt>
                <c:pt idx="4">
                  <c:v>2.2821916830734975E-2</c:v>
                </c:pt>
                <c:pt idx="5">
                  <c:v>4.0761678322806137E-4</c:v>
                </c:pt>
                <c:pt idx="6">
                  <c:v>8.68883870653428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E-3</c:v>
                </c:pt>
                <c:pt idx="4">
                  <c:v>0.48080000000000001</c:v>
                </c:pt>
                <c:pt idx="5">
                  <c:v>0.51090000000000002</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9498821050055265E-6</c:v>
                </c:pt>
                <c:pt idx="4">
                  <c:v>1.5457411727770247E-3</c:v>
                </c:pt>
                <c:pt idx="5">
                  <c:v>1.6426243187521482E-3</c:v>
                </c:pt>
                <c:pt idx="6">
                  <c:v>2.158267930974151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2139003426072318E-2</c:v>
                </c:pt>
                <c:pt idx="1">
                  <c:v>9.9619176558002356E-2</c:v>
                </c:pt>
                <c:pt idx="2">
                  <c:v>1.484330062582456E-3</c:v>
                </c:pt>
                <c:pt idx="3">
                  <c:v>1.06794916864877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0592532513710326E-5</c:v>
                </c:pt>
                <c:pt idx="1">
                  <c:v>7.8666983162744692E-7</c:v>
                </c:pt>
                <c:pt idx="3">
                  <c:v>8.5255314881073227E-2</c:v>
                </c:pt>
                <c:pt idx="4">
                  <c:v>8.3526185002393394E-2</c:v>
                </c:pt>
                <c:pt idx="5">
                  <c:v>1.7185551972378401E-3</c:v>
                </c:pt>
                <c:pt idx="6">
                  <c:v>2.34110584572720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6006427625122124</c:v>
                </c:pt>
                <c:pt idx="1">
                  <c:v>0.11117304405948432</c:v>
                </c:pt>
                <c:pt idx="2">
                  <c:v>4.2674888197337883E-2</c:v>
                </c:pt>
                <c:pt idx="3">
                  <c:v>9.5596224801262411E-2</c:v>
                </c:pt>
                <c:pt idx="4">
                  <c:v>5.6710324389633644E-2</c:v>
                </c:pt>
                <c:pt idx="5">
                  <c:v>1.8076009157635981E-2</c:v>
                </c:pt>
                <c:pt idx="6">
                  <c:v>7.00344298535335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999999999999996E-3</c:v>
                </c:pt>
                <c:pt idx="4">
                  <c:v>0.85809999999999997</c:v>
                </c:pt>
                <c:pt idx="5">
                  <c:v>0.13220000000000001</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8182329126418325E-5</c:v>
                </c:pt>
                <c:pt idx="4">
                  <c:v>2.98904892629609E-3</c:v>
                </c:pt>
                <c:pt idx="5">
                  <c:v>4.6068898525730722E-4</c:v>
                </c:pt>
                <c:pt idx="6">
                  <c:v>5.605945964461975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9.0902520435075665E-6</c:v>
                </c:pt>
                <c:pt idx="1">
                  <c:v>8.6276267366761595E-7</c:v>
                </c:pt>
                <c:pt idx="2">
                  <c:v>8.653265565275048E-5</c:v>
                </c:pt>
                <c:pt idx="3">
                  <c:v>0.1087971022365138</c:v>
                </c:pt>
                <c:pt idx="4">
                  <c:v>6.3538102123591927E-2</c:v>
                </c:pt>
                <c:pt idx="5">
                  <c:v>1.1745656939459764E-3</c:v>
                </c:pt>
                <c:pt idx="6">
                  <c:v>2.118271758631785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5537952965683718E-2</c:v>
                </c:pt>
                <c:pt idx="1">
                  <c:v>0.10217505704385925</c:v>
                </c:pt>
                <c:pt idx="2">
                  <c:v>1.200223027557138E-3</c:v>
                </c:pt>
                <c:pt idx="3">
                  <c:v>1.13138955794028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4.9879243879641648E-2</c:v>
                </c:pt>
                <c:pt idx="1">
                  <c:v>1.5273564313872735E-2</c:v>
                </c:pt>
                <c:pt idx="2">
                  <c:v>1.7556911992264764E-4</c:v>
                </c:pt>
                <c:pt idx="3">
                  <c:v>7.1702148802078804E-4</c:v>
                </c:pt>
                <c:pt idx="6">
                  <c:v>2.566028368558206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3241919452362003</c:v>
                </c:pt>
                <c:pt idx="1">
                  <c:v>7.9608546171856392E-2</c:v>
                </c:pt>
                <c:pt idx="2">
                  <c:v>3.7199545641123523E-2</c:v>
                </c:pt>
                <c:pt idx="3">
                  <c:v>0.14601804879023705</c:v>
                </c:pt>
                <c:pt idx="4">
                  <c:v>9.5532308765299681E-2</c:v>
                </c:pt>
                <c:pt idx="5">
                  <c:v>1.8530882816791473E-2</c:v>
                </c:pt>
                <c:pt idx="6">
                  <c:v>7.61438803473587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546657233802762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1106628368099922E-2</c:v>
                </c:pt>
                <c:pt idx="1">
                  <c:v>0.13696437640927706</c:v>
                </c:pt>
                <c:pt idx="2">
                  <c:v>1.7550559659100175E-3</c:v>
                </c:pt>
                <c:pt idx="3">
                  <c:v>1.7357367490735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4817539825522301E-2</c:v>
                </c:pt>
                <c:pt idx="1">
                  <c:v>1.2734472935731198E-2</c:v>
                </c:pt>
                <c:pt idx="2">
                  <c:v>2.2493217215003916E-4</c:v>
                </c:pt>
                <c:pt idx="3">
                  <c:v>7.0164771402140896E-4</c:v>
                </c:pt>
                <c:pt idx="6">
                  <c:v>3.851946871773165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374682941818224E-4</c:v>
                </c:pt>
                <c:pt idx="1">
                  <c:v>5.8976540185797778E-5</c:v>
                </c:pt>
                <c:pt idx="3">
                  <c:v>7.0923383438124446E-2</c:v>
                </c:pt>
                <c:pt idx="4">
                  <c:v>5.1313010924813208E-3</c:v>
                </c:pt>
                <c:pt idx="5">
                  <c:v>1.4636398730239178E-3</c:v>
                </c:pt>
                <c:pt idx="6">
                  <c:v>1.26419738393219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2102792538192831</c:v>
                </c:pt>
                <c:pt idx="1">
                  <c:v>0.11319102516693248</c:v>
                </c:pt>
                <c:pt idx="2">
                  <c:v>6.248956041678394E-2</c:v>
                </c:pt>
                <c:pt idx="3">
                  <c:v>0.1226609464626202</c:v>
                </c:pt>
                <c:pt idx="4">
                  <c:v>2.9759970963633378E-2</c:v>
                </c:pt>
                <c:pt idx="5">
                  <c:v>1.3311808998232071E-2</c:v>
                </c:pt>
                <c:pt idx="6">
                  <c:v>3.1265202445614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490646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04118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854771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2485467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5302845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894893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68207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3220629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507097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525986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025571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4164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0672329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43702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781032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124947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120074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52202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5337737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249671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2037335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1244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2226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210608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9584339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921527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697046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9840501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5828124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3968238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4970101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9746413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025265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6812296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979256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633444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270978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697066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4027233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461647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17538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58999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873205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444078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546227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4036</Words>
  <Application>Microsoft Office PowerPoint</Application>
  <PresentationFormat>On-screen Show (16:9)</PresentationFormat>
  <Paragraphs>1313</Paragraphs>
  <Slides>4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65</cp:revision>
  <dcterms:created xsi:type="dcterms:W3CDTF">2024-07-05T11:30:58Z</dcterms:created>
  <dcterms:modified xsi:type="dcterms:W3CDTF">2025-07-08T06:3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